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</p:sldMasterIdLst>
  <p:notesMasterIdLst>
    <p:notesMasterId r:id="rId5"/>
  </p:notesMasterIdLst>
  <p:handoutMasterIdLst>
    <p:handoutMasterId r:id="rId6"/>
  </p:handoutMasterIdLst>
  <p:sldIdLst>
    <p:sldId id="454" r:id="rId3"/>
    <p:sldId id="455" r:id="rId4"/>
  </p:sldIdLst>
  <p:sldSz cx="10080625" cy="7561263"/>
  <p:notesSz cx="6858000" cy="9144000"/>
  <p:custDataLst>
    <p:tags r:id="rId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mc="http://schemas.openxmlformats.org/markup-compatibility/2006" xmlns:mv="urn:schemas-microsoft-com:mac:vml"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EA576C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mc="http://schemas.openxmlformats.org/markup-compatibility/2006" xmlns:mv="urn:schemas-microsoft-com:mac:vml"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927" autoAdjust="0"/>
    <p:restoredTop sz="94584" autoAdjust="0"/>
  </p:normalViewPr>
  <p:slideViewPr>
    <p:cSldViewPr snapToGrid="0">
      <p:cViewPr>
        <p:scale>
          <a:sx n="120" d="100"/>
          <a:sy n="120" d="100"/>
        </p:scale>
        <p:origin x="-1650" y="-7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95" d="100"/>
          <a:sy n="95" d="100"/>
        </p:scale>
        <p:origin x="-4256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5/1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5/19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793952" y="1771742"/>
            <a:ext cx="5956870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Insert picture her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property TITL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sub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2096146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266700" y="4385300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1803813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266898" y="4108646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Idea’ here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5238750" y="5635625"/>
            <a:ext cx="44450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Insert quote here – can run to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2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property title her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83227"/>
            <a:ext cx="9328120" cy="271240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subtitle here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520385"/>
            <a:ext cx="4060287" cy="1817688"/>
          </a:xfrm>
          <a:prstGeom prst="rect">
            <a:avLst/>
          </a:prstGeom>
        </p:spPr>
        <p:txBody>
          <a:bodyPr vert="horz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4171361"/>
            <a:ext cx="4079261" cy="344487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Results’ he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862638" y="1586630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862638" y="2357638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862638" y="3117307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0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  <p:sp>
        <p:nvSpPr>
          <p:cNvPr id="11" name="Title 6"/>
          <p:cNvSpPr txBox="1">
            <a:spLocks/>
          </p:cNvSpPr>
          <p:nvPr userDrawn="1"/>
        </p:nvSpPr>
        <p:spPr bwMode="gray">
          <a:xfrm>
            <a:off x="263445" y="344821"/>
            <a:ext cx="5380999" cy="409568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18" name="Content Placeholder 10"/>
          <p:cNvSpPr txBox="1">
            <a:spLocks/>
          </p:cNvSpPr>
          <p:nvPr userDrawn="1"/>
        </p:nvSpPr>
        <p:spPr bwMode="gray">
          <a:xfrm>
            <a:off x="5242128" y="5640762"/>
            <a:ext cx="4449685" cy="770902"/>
          </a:xfrm>
          <a:prstGeom prst="rect">
            <a:avLst/>
          </a:prstGeom>
          <a:ln w="6350">
            <a:noFill/>
            <a:prstDash val="lgDash"/>
          </a:ln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00000"/>
              </a:lnSpc>
            </a:pPr>
            <a:r>
              <a:rPr lang="en-GB" sz="2000" dirty="0" smtClean="0">
                <a:solidFill>
                  <a:srgbClr val="FFFFFF"/>
                </a:solidFill>
                <a:latin typeface="Helvetica"/>
                <a:cs typeface="Helvetica"/>
              </a:rPr>
              <a:t>Quote to define campaign goes here – can run to two lines.</a:t>
            </a:r>
          </a:p>
          <a:p>
            <a:pPr lvl="2" algn="r">
              <a:lnSpc>
                <a:spcPct val="100000"/>
              </a:lnSpc>
            </a:pPr>
            <a:endParaRPr lang="en-GB" sz="2100" dirty="0" smtClean="0">
              <a:solidFill>
                <a:srgbClr val="FFFFFF"/>
              </a:solidFill>
              <a:latin typeface="Impact"/>
              <a:cs typeface="Impact"/>
            </a:endParaRPr>
          </a:p>
          <a:p>
            <a:pPr lvl="2" algn="r">
              <a:lnSpc>
                <a:spcPct val="100000"/>
              </a:lnSpc>
            </a:pPr>
            <a:endParaRPr lang="en-GB" sz="2100" dirty="0" smtClean="0">
              <a:solidFill>
                <a:srgbClr val="FFFFFF"/>
              </a:solidFill>
              <a:latin typeface="Impact"/>
              <a:cs typeface="Impact"/>
            </a:endParaRPr>
          </a:p>
          <a:p>
            <a:pPr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89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721100" y="1777999"/>
            <a:ext cx="5981700" cy="3584575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0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cturehouse kids club</a:t>
            </a:r>
            <a:endParaRPr lang="en-US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Get in on the family outing</a:t>
            </a:r>
            <a:endParaRPr lang="en-US" dirty="0"/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66699" y="2096146"/>
            <a:ext cx="3000376" cy="181768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 smtClean="0"/>
              <a:t>It’s Picturehouse answer to great family outings, with £1.75* tickets to family-themed films to entertain and inspire kids and parents alike</a:t>
            </a:r>
            <a:r>
              <a:rPr lang="en-GB" dirty="0"/>
              <a:t>.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Before </a:t>
            </a:r>
            <a:r>
              <a:rPr lang="en-GB" dirty="0"/>
              <a:t>the screenings </a:t>
            </a:r>
            <a:r>
              <a:rPr lang="en-GB" dirty="0" smtClean="0"/>
              <a:t>parents can have a natter and a coffee </a:t>
            </a:r>
            <a:r>
              <a:rPr lang="en-GB" dirty="0"/>
              <a:t>while the kids play. </a:t>
            </a:r>
            <a:endParaRPr lang="en-GB" dirty="0" smtClean="0"/>
          </a:p>
          <a:p>
            <a:pPr>
              <a:lnSpc>
                <a:spcPct val="110000"/>
              </a:lnSpc>
            </a:pPr>
            <a:endParaRPr lang="en-GB" dirty="0" smtClean="0"/>
          </a:p>
          <a:p>
            <a:pPr>
              <a:lnSpc>
                <a:spcPct val="110000"/>
              </a:lnSpc>
            </a:pPr>
            <a:r>
              <a:rPr lang="en-GB" dirty="0" smtClean="0"/>
              <a:t>As </a:t>
            </a:r>
            <a:r>
              <a:rPr lang="en-GB" dirty="0" smtClean="0"/>
              <a:t>the Picturehouse Kids Club is just for families, your family-orientated messages are always 100% on-target, with incredible opportunities to convert morning viewers to afternoon shoppers in the many retail environments around the cinema.</a:t>
            </a:r>
          </a:p>
          <a:p>
            <a:pPr>
              <a:lnSpc>
                <a:spcPct val="100000"/>
              </a:lnSpc>
            </a:pPr>
            <a:endParaRPr lang="en-GB" dirty="0" smtClean="0"/>
          </a:p>
          <a:p>
            <a:pPr>
              <a:lnSpc>
                <a:spcPct val="100000"/>
              </a:lnSpc>
            </a:pPr>
            <a:endParaRPr lang="en-GB" dirty="0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264415" y="1760415"/>
            <a:ext cx="3071813" cy="256620"/>
          </a:xfrm>
        </p:spPr>
        <p:txBody>
          <a:bodyPr/>
          <a:lstStyle/>
          <a:p>
            <a:r>
              <a:rPr lang="en-US" dirty="0" smtClean="0"/>
              <a:t>What is the Kids Club?</a:t>
            </a:r>
            <a:endParaRPr lang="en-US" dirty="0"/>
          </a:p>
        </p:txBody>
      </p:sp>
      <p:sp>
        <p:nvSpPr>
          <p:cNvPr id="75" name="Text Placeholder 74"/>
          <p:cNvSpPr>
            <a:spLocks noGrp="1"/>
          </p:cNvSpPr>
          <p:nvPr>
            <p:ph type="body" sz="quarter" idx="19"/>
          </p:nvPr>
        </p:nvSpPr>
        <p:spPr>
          <a:xfrm>
            <a:off x="264415" y="3878571"/>
            <a:ext cx="3071813" cy="344487"/>
          </a:xfrm>
        </p:spPr>
        <p:txBody>
          <a:bodyPr/>
          <a:lstStyle/>
          <a:p>
            <a:r>
              <a:rPr lang="en-US" dirty="0" smtClean="0"/>
              <a:t>The Partnership Package</a:t>
            </a:r>
            <a:endParaRPr lang="en-US" dirty="0"/>
          </a:p>
        </p:txBody>
      </p:sp>
      <p:sp>
        <p:nvSpPr>
          <p:cNvPr id="19" name="Freeform 120"/>
          <p:cNvSpPr>
            <a:spLocks noChangeAspect="1" noEditPoints="1"/>
          </p:cNvSpPr>
          <p:nvPr/>
        </p:nvSpPr>
        <p:spPr bwMode="auto">
          <a:xfrm>
            <a:off x="1400174" y="1101974"/>
            <a:ext cx="457653" cy="457653"/>
          </a:xfrm>
          <a:custGeom>
            <a:avLst/>
            <a:gdLst/>
            <a:ahLst/>
            <a:cxnLst>
              <a:cxn ang="0">
                <a:pos x="294" y="396"/>
              </a:cxn>
              <a:cxn ang="0">
                <a:pos x="350" y="324"/>
              </a:cxn>
              <a:cxn ang="0">
                <a:pos x="350" y="520"/>
              </a:cxn>
              <a:cxn ang="0">
                <a:pos x="234" y="448"/>
              </a:cxn>
              <a:cxn ang="0">
                <a:pos x="234" y="448"/>
              </a:cxn>
              <a:cxn ang="0">
                <a:pos x="206" y="324"/>
              </a:cxn>
              <a:cxn ang="0">
                <a:pos x="250" y="520"/>
              </a:cxn>
              <a:cxn ang="0">
                <a:pos x="270" y="474"/>
              </a:cxn>
              <a:cxn ang="0">
                <a:pos x="432" y="520"/>
              </a:cxn>
              <a:cxn ang="0">
                <a:pos x="362" y="204"/>
              </a:cxn>
              <a:cxn ang="0">
                <a:pos x="358" y="300"/>
              </a:cxn>
              <a:cxn ang="0">
                <a:pos x="366" y="206"/>
              </a:cxn>
              <a:cxn ang="0">
                <a:pos x="522" y="324"/>
              </a:cxn>
              <a:cxn ang="0">
                <a:pos x="432" y="448"/>
              </a:cxn>
              <a:cxn ang="0">
                <a:pos x="364" y="0"/>
              </a:cxn>
              <a:cxn ang="0">
                <a:pos x="256" y="16"/>
              </a:cxn>
              <a:cxn ang="0">
                <a:pos x="132" y="82"/>
              </a:cxn>
              <a:cxn ang="0">
                <a:pos x="44" y="190"/>
              </a:cxn>
              <a:cxn ang="0">
                <a:pos x="2" y="326"/>
              </a:cxn>
              <a:cxn ang="0">
                <a:pos x="8" y="436"/>
              </a:cxn>
              <a:cxn ang="0">
                <a:pos x="62" y="566"/>
              </a:cxn>
              <a:cxn ang="0">
                <a:pos x="160" y="664"/>
              </a:cxn>
              <a:cxn ang="0">
                <a:pos x="290" y="718"/>
              </a:cxn>
              <a:cxn ang="0">
                <a:pos x="400" y="724"/>
              </a:cxn>
              <a:cxn ang="0">
                <a:pos x="536" y="682"/>
              </a:cxn>
              <a:cxn ang="0">
                <a:pos x="644" y="594"/>
              </a:cxn>
              <a:cxn ang="0">
                <a:pos x="710" y="470"/>
              </a:cxn>
              <a:cxn ang="0">
                <a:pos x="726" y="362"/>
              </a:cxn>
              <a:cxn ang="0">
                <a:pos x="698" y="222"/>
              </a:cxn>
              <a:cxn ang="0">
                <a:pos x="620" y="106"/>
              </a:cxn>
              <a:cxn ang="0">
                <a:pos x="504" y="28"/>
              </a:cxn>
              <a:cxn ang="0">
                <a:pos x="364" y="0"/>
              </a:cxn>
              <a:cxn ang="0">
                <a:pos x="498" y="532"/>
              </a:cxn>
              <a:cxn ang="0">
                <a:pos x="474" y="544"/>
              </a:cxn>
              <a:cxn ang="0">
                <a:pos x="234" y="538"/>
              </a:cxn>
              <a:cxn ang="0">
                <a:pos x="180" y="328"/>
              </a:cxn>
              <a:cxn ang="0">
                <a:pos x="182" y="314"/>
              </a:cxn>
              <a:cxn ang="0">
                <a:pos x="202" y="300"/>
              </a:cxn>
              <a:cxn ang="0">
                <a:pos x="334" y="190"/>
              </a:cxn>
              <a:cxn ang="0">
                <a:pos x="376" y="180"/>
              </a:cxn>
              <a:cxn ang="0">
                <a:pos x="392" y="190"/>
              </a:cxn>
              <a:cxn ang="0">
                <a:pos x="524" y="300"/>
              </a:cxn>
              <a:cxn ang="0">
                <a:pos x="546" y="314"/>
              </a:cxn>
              <a:cxn ang="0">
                <a:pos x="458" y="448"/>
              </a:cxn>
              <a:cxn ang="0">
                <a:pos x="458" y="448"/>
              </a:cxn>
              <a:cxn ang="0">
                <a:pos x="476" y="520"/>
              </a:cxn>
              <a:cxn ang="0">
                <a:pos x="458" y="474"/>
              </a:cxn>
              <a:cxn ang="0">
                <a:pos x="432" y="324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8"/>
                </a:lnTo>
                <a:lnTo>
                  <a:pt x="180" y="322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4" y="520"/>
                </a:lnTo>
                <a:lnTo>
                  <a:pt x="476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 277"/>
          <p:cNvSpPr>
            <a:spLocks noChangeAspect="1" noEditPoints="1"/>
          </p:cNvSpPr>
          <p:nvPr/>
        </p:nvSpPr>
        <p:spPr bwMode="auto">
          <a:xfrm>
            <a:off x="855594" y="1101974"/>
            <a:ext cx="459251" cy="457654"/>
          </a:xfrm>
          <a:custGeom>
            <a:avLst/>
            <a:gdLst/>
            <a:ahLst/>
            <a:cxnLst>
              <a:cxn ang="0">
                <a:pos x="190" y="44"/>
              </a:cxn>
              <a:cxn ang="0">
                <a:pos x="28" y="222"/>
              </a:cxn>
              <a:cxn ang="0">
                <a:pos x="8" y="436"/>
              </a:cxn>
              <a:cxn ang="0">
                <a:pos x="132" y="642"/>
              </a:cxn>
              <a:cxn ang="0">
                <a:pos x="364" y="726"/>
              </a:cxn>
              <a:cxn ang="0">
                <a:pos x="566" y="664"/>
              </a:cxn>
              <a:cxn ang="0">
                <a:pos x="710" y="470"/>
              </a:cxn>
              <a:cxn ang="0">
                <a:pos x="710" y="254"/>
              </a:cxn>
              <a:cxn ang="0">
                <a:pos x="566" y="62"/>
              </a:cxn>
              <a:cxn ang="0">
                <a:pos x="296" y="208"/>
              </a:cxn>
              <a:cxn ang="0">
                <a:pos x="334" y="234"/>
              </a:cxn>
              <a:cxn ang="0">
                <a:pos x="326" y="282"/>
              </a:cxn>
              <a:cxn ang="0">
                <a:pos x="278" y="290"/>
              </a:cxn>
              <a:cxn ang="0">
                <a:pos x="252" y="250"/>
              </a:cxn>
              <a:cxn ang="0">
                <a:pos x="286" y="208"/>
              </a:cxn>
              <a:cxn ang="0">
                <a:pos x="196" y="312"/>
              </a:cxn>
              <a:cxn ang="0">
                <a:pos x="180" y="354"/>
              </a:cxn>
              <a:cxn ang="0">
                <a:pos x="140" y="336"/>
              </a:cxn>
              <a:cxn ang="0">
                <a:pos x="156" y="296"/>
              </a:cxn>
              <a:cxn ang="0">
                <a:pos x="194" y="460"/>
              </a:cxn>
              <a:cxn ang="0">
                <a:pos x="184" y="518"/>
              </a:cxn>
              <a:cxn ang="0">
                <a:pos x="164" y="508"/>
              </a:cxn>
              <a:cxn ang="0">
                <a:pos x="150" y="516"/>
              </a:cxn>
              <a:cxn ang="0">
                <a:pos x="124" y="460"/>
              </a:cxn>
              <a:cxn ang="0">
                <a:pos x="162" y="364"/>
              </a:cxn>
              <a:cxn ang="0">
                <a:pos x="218" y="452"/>
              </a:cxn>
              <a:cxn ang="0">
                <a:pos x="342" y="416"/>
              </a:cxn>
              <a:cxn ang="0">
                <a:pos x="318" y="516"/>
              </a:cxn>
              <a:cxn ang="0">
                <a:pos x="304" y="416"/>
              </a:cxn>
              <a:cxn ang="0">
                <a:pos x="278" y="518"/>
              </a:cxn>
              <a:cxn ang="0">
                <a:pos x="252" y="416"/>
              </a:cxn>
              <a:cxn ang="0">
                <a:pos x="242" y="320"/>
              </a:cxn>
              <a:cxn ang="0">
                <a:pos x="338" y="308"/>
              </a:cxn>
              <a:cxn ang="0">
                <a:pos x="350" y="406"/>
              </a:cxn>
              <a:cxn ang="0">
                <a:pos x="598" y="318"/>
              </a:cxn>
              <a:cxn ang="0">
                <a:pos x="574" y="354"/>
              </a:cxn>
              <a:cxn ang="0">
                <a:pos x="538" y="332"/>
              </a:cxn>
              <a:cxn ang="0">
                <a:pos x="562" y="294"/>
              </a:cxn>
              <a:cxn ang="0">
                <a:pos x="470" y="220"/>
              </a:cxn>
              <a:cxn ang="0">
                <a:pos x="480" y="268"/>
              </a:cxn>
              <a:cxn ang="0">
                <a:pos x="440" y="294"/>
              </a:cxn>
              <a:cxn ang="0">
                <a:pos x="398" y="260"/>
              </a:cxn>
              <a:cxn ang="0">
                <a:pos x="416" y="216"/>
              </a:cxn>
              <a:cxn ang="0">
                <a:pos x="494" y="438"/>
              </a:cxn>
              <a:cxn ang="0">
                <a:pos x="458" y="518"/>
              </a:cxn>
              <a:cxn ang="0">
                <a:pos x="434" y="438"/>
              </a:cxn>
              <a:cxn ang="0">
                <a:pos x="422" y="518"/>
              </a:cxn>
              <a:cxn ang="0">
                <a:pos x="386" y="438"/>
              </a:cxn>
              <a:cxn ang="0">
                <a:pos x="430" y="312"/>
              </a:cxn>
              <a:cxn ang="0">
                <a:pos x="504" y="422"/>
              </a:cxn>
              <a:cxn ang="0">
                <a:pos x="606" y="442"/>
              </a:cxn>
              <a:cxn ang="0">
                <a:pos x="590" y="514"/>
              </a:cxn>
              <a:cxn ang="0">
                <a:pos x="574" y="508"/>
              </a:cxn>
              <a:cxn ang="0">
                <a:pos x="558" y="516"/>
              </a:cxn>
              <a:cxn ang="0">
                <a:pos x="544" y="446"/>
              </a:cxn>
              <a:cxn ang="0">
                <a:pos x="528" y="436"/>
              </a:cxn>
              <a:cxn ang="0">
                <a:pos x="538" y="364"/>
              </a:cxn>
              <a:cxn ang="0">
                <a:pos x="610" y="37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Freeform 261"/>
          <p:cNvSpPr>
            <a:spLocks noChangeAspect="1" noEditPoints="1"/>
          </p:cNvSpPr>
          <p:nvPr/>
        </p:nvSpPr>
        <p:spPr bwMode="auto">
          <a:xfrm>
            <a:off x="1943157" y="1101974"/>
            <a:ext cx="457653" cy="457653"/>
          </a:xfrm>
          <a:custGeom>
            <a:avLst/>
            <a:gdLst/>
            <a:ahLst/>
            <a:cxnLst>
              <a:cxn ang="0">
                <a:pos x="364" y="0"/>
              </a:cxn>
              <a:cxn ang="0">
                <a:pos x="290" y="8"/>
              </a:cxn>
              <a:cxn ang="0">
                <a:pos x="222" y="28"/>
              </a:cxn>
              <a:cxn ang="0">
                <a:pos x="160" y="62"/>
              </a:cxn>
              <a:cxn ang="0">
                <a:pos x="108" y="106"/>
              </a:cxn>
              <a:cxn ang="0">
                <a:pos x="62" y="160"/>
              </a:cxn>
              <a:cxn ang="0">
                <a:pos x="30" y="222"/>
              </a:cxn>
              <a:cxn ang="0">
                <a:pos x="8" y="290"/>
              </a:cxn>
              <a:cxn ang="0">
                <a:pos x="0" y="362"/>
              </a:cxn>
              <a:cxn ang="0">
                <a:pos x="2" y="400"/>
              </a:cxn>
              <a:cxn ang="0">
                <a:pos x="18" y="470"/>
              </a:cxn>
              <a:cxn ang="0">
                <a:pos x="44" y="536"/>
              </a:cxn>
              <a:cxn ang="0">
                <a:pos x="84" y="594"/>
              </a:cxn>
              <a:cxn ang="0">
                <a:pos x="134" y="642"/>
              </a:cxn>
              <a:cxn ang="0">
                <a:pos x="190" y="682"/>
              </a:cxn>
              <a:cxn ang="0">
                <a:pos x="256" y="710"/>
              </a:cxn>
              <a:cxn ang="0">
                <a:pos x="326" y="724"/>
              </a:cxn>
              <a:cxn ang="0">
                <a:pos x="364" y="726"/>
              </a:cxn>
              <a:cxn ang="0">
                <a:pos x="436" y="718"/>
              </a:cxn>
              <a:cxn ang="0">
                <a:pos x="506" y="698"/>
              </a:cxn>
              <a:cxn ang="0">
                <a:pos x="566" y="664"/>
              </a:cxn>
              <a:cxn ang="0">
                <a:pos x="620" y="620"/>
              </a:cxn>
              <a:cxn ang="0">
                <a:pos x="664" y="566"/>
              </a:cxn>
              <a:cxn ang="0">
                <a:pos x="698" y="504"/>
              </a:cxn>
              <a:cxn ang="0">
                <a:pos x="720" y="436"/>
              </a:cxn>
              <a:cxn ang="0">
                <a:pos x="726" y="362"/>
              </a:cxn>
              <a:cxn ang="0">
                <a:pos x="724" y="326"/>
              </a:cxn>
              <a:cxn ang="0">
                <a:pos x="710" y="254"/>
              </a:cxn>
              <a:cxn ang="0">
                <a:pos x="682" y="190"/>
              </a:cxn>
              <a:cxn ang="0">
                <a:pos x="644" y="132"/>
              </a:cxn>
              <a:cxn ang="0">
                <a:pos x="594" y="82"/>
              </a:cxn>
              <a:cxn ang="0">
                <a:pos x="536" y="44"/>
              </a:cxn>
              <a:cxn ang="0">
                <a:pos x="472" y="16"/>
              </a:cxn>
              <a:cxn ang="0">
                <a:pos x="400" y="2"/>
              </a:cxn>
              <a:cxn ang="0">
                <a:pos x="482" y="586"/>
              </a:cxn>
              <a:cxn ang="0">
                <a:pos x="480" y="590"/>
              </a:cxn>
              <a:cxn ang="0">
                <a:pos x="252" y="592"/>
              </a:cxn>
              <a:cxn ang="0">
                <a:pos x="248" y="590"/>
              </a:cxn>
              <a:cxn ang="0">
                <a:pos x="246" y="530"/>
              </a:cxn>
              <a:cxn ang="0">
                <a:pos x="248" y="526"/>
              </a:cxn>
              <a:cxn ang="0">
                <a:pos x="476" y="524"/>
              </a:cxn>
              <a:cxn ang="0">
                <a:pos x="480" y="526"/>
              </a:cxn>
              <a:cxn ang="0">
                <a:pos x="482" y="586"/>
              </a:cxn>
              <a:cxn ang="0">
                <a:pos x="504" y="486"/>
              </a:cxn>
              <a:cxn ang="0">
                <a:pos x="500" y="500"/>
              </a:cxn>
              <a:cxn ang="0">
                <a:pos x="486" y="504"/>
              </a:cxn>
              <a:cxn ang="0">
                <a:pos x="242" y="504"/>
              </a:cxn>
              <a:cxn ang="0">
                <a:pos x="228" y="500"/>
              </a:cxn>
              <a:cxn ang="0">
                <a:pos x="224" y="486"/>
              </a:cxn>
              <a:cxn ang="0">
                <a:pos x="224" y="146"/>
              </a:cxn>
              <a:cxn ang="0">
                <a:pos x="228" y="134"/>
              </a:cxn>
              <a:cxn ang="0">
                <a:pos x="242" y="128"/>
              </a:cxn>
              <a:cxn ang="0">
                <a:pos x="486" y="128"/>
              </a:cxn>
              <a:cxn ang="0">
                <a:pos x="500" y="134"/>
              </a:cxn>
              <a:cxn ang="0">
                <a:pos x="504" y="146"/>
              </a:cxn>
              <a:cxn ang="0">
                <a:pos x="260" y="468"/>
              </a:cxn>
              <a:cxn ang="0">
                <a:pos x="468" y="166"/>
              </a:cxn>
              <a:cxn ang="0">
                <a:pos x="260" y="468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64415" y="4190252"/>
            <a:ext cx="2974085" cy="181768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 smtClean="0"/>
              <a:t>The Kids Club takes place at 17 Picturehouse sites, delivering 75,000 admissions a year. Sponsorship gives you:</a:t>
            </a:r>
          </a:p>
          <a:p>
            <a:pPr>
              <a:lnSpc>
                <a:spcPct val="100000"/>
              </a:lnSpc>
            </a:pPr>
            <a:endParaRPr lang="en-GB" dirty="0"/>
          </a:p>
          <a:p>
            <a:pPr marL="171450" indent="-171450">
              <a:lnSpc>
                <a:spcPct val="100000"/>
              </a:lnSpc>
              <a:buClrTx/>
              <a:buFont typeface="Lucida Grande"/>
              <a:buChar char="-"/>
            </a:pPr>
            <a:r>
              <a:rPr lang="en-GB" dirty="0" smtClean="0"/>
              <a:t>Branded assets throughout the customer journey to promote the partnership.</a:t>
            </a:r>
          </a:p>
          <a:p>
            <a:pPr marL="171450" indent="-171450">
              <a:lnSpc>
                <a:spcPct val="100000"/>
              </a:lnSpc>
              <a:buClrTx/>
              <a:buFont typeface="Lucida Grande"/>
              <a:buChar char="-"/>
            </a:pPr>
            <a:endParaRPr lang="en-GB" dirty="0"/>
          </a:p>
          <a:p>
            <a:pPr marL="171450" indent="-171450">
              <a:lnSpc>
                <a:spcPct val="100000"/>
              </a:lnSpc>
              <a:buClrTx/>
              <a:buFont typeface="Lucida Grande"/>
              <a:buChar char="-"/>
            </a:pPr>
            <a:r>
              <a:rPr lang="en-GB" dirty="0" smtClean="0"/>
              <a:t>The chance to host ‘Fun &amp; Games’ sessions before screenings (board games, toys etc)</a:t>
            </a:r>
          </a:p>
          <a:p>
            <a:pPr marL="171450" indent="-171450">
              <a:lnSpc>
                <a:spcPct val="100000"/>
              </a:lnSpc>
              <a:buClrTx/>
              <a:buFont typeface="Lucida Grande"/>
              <a:buChar char="-"/>
            </a:pPr>
            <a:endParaRPr lang="en-GB" dirty="0"/>
          </a:p>
          <a:p>
            <a:pPr marL="171450" indent="-171450">
              <a:lnSpc>
                <a:spcPct val="100000"/>
              </a:lnSpc>
              <a:buClrTx/>
              <a:buFont typeface="Lucida Grande"/>
              <a:buChar char="-"/>
            </a:pPr>
            <a:r>
              <a:rPr lang="en-GB" dirty="0" smtClean="0"/>
              <a:t>Product demonstrations and sampling that integrates the brand into the live experience.</a:t>
            </a:r>
          </a:p>
          <a:p>
            <a:pPr marL="171450" indent="-171450">
              <a:lnSpc>
                <a:spcPct val="100000"/>
              </a:lnSpc>
              <a:buClrTx/>
              <a:buFont typeface="Lucida Grande"/>
              <a:buChar char="-"/>
            </a:pPr>
            <a:endParaRPr lang="en-GB" dirty="0"/>
          </a:p>
          <a:p>
            <a:pPr marL="171450" indent="-171450">
              <a:lnSpc>
                <a:spcPct val="100000"/>
              </a:lnSpc>
              <a:buClrTx/>
              <a:buFont typeface="Lucida Grande"/>
              <a:buChar char="-"/>
            </a:pPr>
            <a:r>
              <a:rPr lang="en-GB" dirty="0" smtClean="0"/>
              <a:t>Opportunities for bespoke events and PR opportunities.</a:t>
            </a:r>
            <a:endParaRPr lang="en-GB" dirty="0"/>
          </a:p>
          <a:p>
            <a:pPr>
              <a:lnSpc>
                <a:spcPct val="100000"/>
              </a:lnSpc>
            </a:pPr>
            <a:endParaRPr lang="en-GB" dirty="0"/>
          </a:p>
        </p:txBody>
      </p:sp>
      <p:sp>
        <p:nvSpPr>
          <p:cNvPr id="53" name="Rectangle 52"/>
          <p:cNvSpPr/>
          <p:nvPr/>
        </p:nvSpPr>
        <p:spPr>
          <a:xfrm>
            <a:off x="3721101" y="5438727"/>
            <a:ext cx="5958332" cy="7234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305300" y="5489105"/>
            <a:ext cx="5150045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dirty="0" smtClean="0">
                <a:solidFill>
                  <a:srgbClr val="FFFFFF"/>
                </a:solidFill>
              </a:rPr>
              <a:t>Appeal to kids and parents when they’re at </a:t>
            </a:r>
            <a:r>
              <a:rPr lang="en-US" sz="1600" b="1" dirty="0" smtClean="0">
                <a:solidFill>
                  <a:srgbClr val="FFFFFF"/>
                </a:solidFill>
              </a:rPr>
              <a:t>their </a:t>
            </a:r>
            <a:r>
              <a:rPr lang="en-US" sz="1600" b="1" dirty="0" smtClean="0">
                <a:solidFill>
                  <a:srgbClr val="FFFFFF"/>
                </a:solidFill>
              </a:rPr>
              <a:t>happiest and more receptive – together.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5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8556061" y="7071063"/>
            <a:ext cx="1159438" cy="342258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900" b="0" dirty="0" smtClean="0">
                <a:solidFill>
                  <a:schemeClr val="bg1"/>
                </a:solidFill>
              </a:rPr>
              <a:t>* £2.50 for 3D films</a:t>
            </a:r>
            <a:endParaRPr lang="en-US" sz="900" b="0" dirty="0"/>
          </a:p>
        </p:txBody>
      </p:sp>
      <p:pic>
        <p:nvPicPr>
          <p:cNvPr id="40" name="Picture 2" descr="http://www.ropewalksliverpool.com/images/made/uploads/images/Picturehouse_logo_1024_597_90_s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464" y="6930578"/>
            <a:ext cx="663601" cy="386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Freeform 121"/>
          <p:cNvSpPr>
            <a:spLocks/>
          </p:cNvSpPr>
          <p:nvPr/>
        </p:nvSpPr>
        <p:spPr bwMode="auto">
          <a:xfrm>
            <a:off x="311014" y="1101973"/>
            <a:ext cx="459251" cy="457654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50" name="Picture 95" descr="C:\Users\edwamccl\AppData\Local\Microsoft\Windows\Temporary Internet Files\Content.Outlook\581CVCJK\PH Kids Club roundel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08"/>
          <a:stretch/>
        </p:blipFill>
        <p:spPr bwMode="auto">
          <a:xfrm>
            <a:off x="6257628" y="3509653"/>
            <a:ext cx="929971" cy="901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96" descr="C:\Users\edwamccl\AppData\Local\Microsoft\Windows\Temporary Internet Files\Content.Outlook\581CVCJK\PH Kids Club roundel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36" r="61028" b="23866"/>
          <a:stretch/>
        </p:blipFill>
        <p:spPr bwMode="auto">
          <a:xfrm>
            <a:off x="6537783" y="4422428"/>
            <a:ext cx="367991" cy="25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8540110" y="2686489"/>
            <a:ext cx="800828" cy="256620"/>
          </a:xfrm>
        </p:spPr>
        <p:txBody>
          <a:bodyPr/>
          <a:lstStyle/>
          <a:p>
            <a:r>
              <a:rPr lang="en-US" dirty="0" smtClean="0"/>
              <a:t>Online</a:t>
            </a:r>
            <a:endParaRPr lang="en-US" dirty="0"/>
          </a:p>
        </p:txBody>
      </p:sp>
      <p:sp>
        <p:nvSpPr>
          <p:cNvPr id="56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3993505" y="4694170"/>
            <a:ext cx="1290667" cy="256620"/>
          </a:xfrm>
        </p:spPr>
        <p:txBody>
          <a:bodyPr/>
          <a:lstStyle/>
          <a:p>
            <a:r>
              <a:rPr lang="en-US" dirty="0" smtClean="0"/>
              <a:t>Experiential</a:t>
            </a:r>
            <a:endParaRPr lang="en-US" dirty="0"/>
          </a:p>
        </p:txBody>
      </p:sp>
      <p:sp>
        <p:nvSpPr>
          <p:cNvPr id="58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8480971" y="4694170"/>
            <a:ext cx="870221" cy="256620"/>
          </a:xfrm>
        </p:spPr>
        <p:txBody>
          <a:bodyPr/>
          <a:lstStyle/>
          <a:p>
            <a:r>
              <a:rPr lang="en-US" dirty="0" smtClean="0"/>
              <a:t>Posters</a:t>
            </a:r>
            <a:endParaRPr lang="en-US" dirty="0"/>
          </a:p>
        </p:txBody>
      </p:sp>
      <p:sp>
        <p:nvSpPr>
          <p:cNvPr id="59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6225452" y="1863879"/>
            <a:ext cx="1039732" cy="305121"/>
          </a:xfrm>
        </p:spPr>
        <p:txBody>
          <a:bodyPr/>
          <a:lstStyle/>
          <a:p>
            <a:pPr algn="ctr"/>
            <a:r>
              <a:rPr lang="en-US" dirty="0" smtClean="0"/>
              <a:t>On Screen</a:t>
            </a:r>
            <a:endParaRPr lang="en-US" dirty="0"/>
          </a:p>
        </p:txBody>
      </p:sp>
      <p:sp>
        <p:nvSpPr>
          <p:cNvPr id="60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4340678" y="2686489"/>
            <a:ext cx="723106" cy="256620"/>
          </a:xfrm>
        </p:spPr>
        <p:txBody>
          <a:bodyPr/>
          <a:lstStyle/>
          <a:p>
            <a:r>
              <a:rPr lang="en-US" dirty="0" smtClean="0"/>
              <a:t>Social</a:t>
            </a:r>
            <a:endParaRPr lang="en-US" dirty="0"/>
          </a:p>
        </p:txBody>
      </p:sp>
      <p:sp>
        <p:nvSpPr>
          <p:cNvPr id="61" name="Freeform 125"/>
          <p:cNvSpPr>
            <a:spLocks noChangeAspect="1" noEditPoints="1"/>
          </p:cNvSpPr>
          <p:nvPr/>
        </p:nvSpPr>
        <p:spPr bwMode="auto">
          <a:xfrm>
            <a:off x="5287526" y="4406282"/>
            <a:ext cx="838818" cy="838818"/>
          </a:xfrm>
          <a:custGeom>
            <a:avLst/>
            <a:gdLst/>
            <a:ahLst/>
            <a:cxnLst>
              <a:cxn ang="0">
                <a:pos x="222" y="28"/>
              </a:cxn>
              <a:cxn ang="0">
                <a:pos x="62" y="160"/>
              </a:cxn>
              <a:cxn ang="0">
                <a:pos x="0" y="362"/>
              </a:cxn>
              <a:cxn ang="0">
                <a:pos x="44" y="536"/>
              </a:cxn>
              <a:cxn ang="0">
                <a:pos x="190" y="682"/>
              </a:cxn>
              <a:cxn ang="0">
                <a:pos x="364" y="726"/>
              </a:cxn>
              <a:cxn ang="0">
                <a:pos x="566" y="664"/>
              </a:cxn>
              <a:cxn ang="0">
                <a:pos x="682" y="536"/>
              </a:cxn>
              <a:cxn ang="0">
                <a:pos x="726" y="362"/>
              </a:cxn>
              <a:cxn ang="0">
                <a:pos x="664" y="160"/>
              </a:cxn>
              <a:cxn ang="0">
                <a:pos x="504" y="28"/>
              </a:cxn>
              <a:cxn ang="0">
                <a:pos x="528" y="510"/>
              </a:cxn>
              <a:cxn ang="0">
                <a:pos x="452" y="470"/>
              </a:cxn>
              <a:cxn ang="0">
                <a:pos x="298" y="428"/>
              </a:cxn>
              <a:cxn ang="0">
                <a:pos x="214" y="512"/>
              </a:cxn>
              <a:cxn ang="0">
                <a:pos x="176" y="498"/>
              </a:cxn>
              <a:cxn ang="0">
                <a:pos x="148" y="370"/>
              </a:cxn>
              <a:cxn ang="0">
                <a:pos x="158" y="292"/>
              </a:cxn>
              <a:cxn ang="0">
                <a:pos x="238" y="240"/>
              </a:cxn>
              <a:cxn ang="0">
                <a:pos x="290" y="258"/>
              </a:cxn>
              <a:cxn ang="0">
                <a:pos x="338" y="210"/>
              </a:cxn>
              <a:cxn ang="0">
                <a:pos x="352" y="154"/>
              </a:cxn>
              <a:cxn ang="0">
                <a:pos x="370" y="116"/>
              </a:cxn>
              <a:cxn ang="0">
                <a:pos x="390" y="124"/>
              </a:cxn>
              <a:cxn ang="0">
                <a:pos x="374" y="166"/>
              </a:cxn>
              <a:cxn ang="0">
                <a:pos x="364" y="222"/>
              </a:cxn>
              <a:cxn ang="0">
                <a:pos x="436" y="258"/>
              </a:cxn>
              <a:cxn ang="0">
                <a:pos x="506" y="242"/>
              </a:cxn>
              <a:cxn ang="0">
                <a:pos x="572" y="310"/>
              </a:cxn>
              <a:cxn ang="0">
                <a:pos x="580" y="400"/>
              </a:cxn>
              <a:cxn ang="0">
                <a:pos x="542" y="504"/>
              </a:cxn>
              <a:cxn ang="0">
                <a:pos x="252" y="292"/>
              </a:cxn>
              <a:cxn ang="0">
                <a:pos x="234" y="280"/>
              </a:cxn>
              <a:cxn ang="0">
                <a:pos x="206" y="312"/>
              </a:cxn>
              <a:cxn ang="0">
                <a:pos x="194" y="330"/>
              </a:cxn>
              <a:cxn ang="0">
                <a:pos x="226" y="356"/>
              </a:cxn>
              <a:cxn ang="0">
                <a:pos x="244" y="368"/>
              </a:cxn>
              <a:cxn ang="0">
                <a:pos x="270" y="338"/>
              </a:cxn>
              <a:cxn ang="0">
                <a:pos x="282" y="320"/>
              </a:cxn>
              <a:cxn ang="0">
                <a:pos x="516" y="310"/>
              </a:cxn>
              <a:cxn ang="0">
                <a:pos x="512" y="336"/>
              </a:cxn>
              <a:cxn ang="0">
                <a:pos x="538" y="330"/>
              </a:cxn>
              <a:cxn ang="0">
                <a:pos x="524" y="308"/>
              </a:cxn>
              <a:cxn ang="0">
                <a:pos x="442" y="324"/>
              </a:cxn>
              <a:cxn ang="0">
                <a:pos x="458" y="340"/>
              </a:cxn>
              <a:cxn ang="0">
                <a:pos x="472" y="318"/>
              </a:cxn>
              <a:cxn ang="0">
                <a:pos x="484" y="342"/>
              </a:cxn>
              <a:cxn ang="0">
                <a:pos x="478" y="368"/>
              </a:cxn>
              <a:cxn ang="0">
                <a:pos x="506" y="364"/>
              </a:cxn>
              <a:cxn ang="0">
                <a:pos x="490" y="340"/>
              </a:cxn>
              <a:cxn ang="0">
                <a:pos x="506" y="292"/>
              </a:cxn>
              <a:cxn ang="0">
                <a:pos x="490" y="276"/>
              </a:cxn>
              <a:cxn ang="0">
                <a:pos x="476" y="298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38"/>
                </a:lnTo>
                <a:lnTo>
                  <a:pt x="152" y="326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290" y="258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26"/>
                </a:lnTo>
                <a:lnTo>
                  <a:pt x="574" y="338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2" name="Freeform 253"/>
          <p:cNvSpPr>
            <a:spLocks noChangeAspect="1" noEditPoints="1"/>
          </p:cNvSpPr>
          <p:nvPr/>
        </p:nvSpPr>
        <p:spPr bwMode="auto">
          <a:xfrm>
            <a:off x="6306919" y="2217590"/>
            <a:ext cx="838818" cy="838818"/>
          </a:xfrm>
          <a:custGeom>
            <a:avLst/>
            <a:gdLst/>
            <a:ahLst/>
            <a:cxnLst>
              <a:cxn ang="0">
                <a:pos x="256" y="16"/>
              </a:cxn>
              <a:cxn ang="0">
                <a:pos x="106" y="106"/>
              </a:cxn>
              <a:cxn ang="0">
                <a:pos x="16" y="254"/>
              </a:cxn>
              <a:cxn ang="0">
                <a:pos x="2" y="400"/>
              </a:cxn>
              <a:cxn ang="0">
                <a:pos x="62" y="566"/>
              </a:cxn>
              <a:cxn ang="0">
                <a:pos x="190" y="682"/>
              </a:cxn>
              <a:cxn ang="0">
                <a:pos x="364" y="726"/>
              </a:cxn>
              <a:cxn ang="0">
                <a:pos x="504" y="698"/>
              </a:cxn>
              <a:cxn ang="0">
                <a:pos x="644" y="594"/>
              </a:cxn>
              <a:cxn ang="0">
                <a:pos x="718" y="436"/>
              </a:cxn>
              <a:cxn ang="0">
                <a:pos x="718" y="290"/>
              </a:cxn>
              <a:cxn ang="0">
                <a:pos x="644" y="132"/>
              </a:cxn>
              <a:cxn ang="0">
                <a:pos x="504" y="28"/>
              </a:cxn>
              <a:cxn ang="0">
                <a:pos x="558" y="206"/>
              </a:cxn>
              <a:cxn ang="0">
                <a:pos x="566" y="234"/>
              </a:cxn>
              <a:cxn ang="0">
                <a:pos x="576" y="244"/>
              </a:cxn>
              <a:cxn ang="0">
                <a:pos x="590" y="278"/>
              </a:cxn>
              <a:cxn ang="0">
                <a:pos x="564" y="268"/>
              </a:cxn>
              <a:cxn ang="0">
                <a:pos x="532" y="220"/>
              </a:cxn>
              <a:cxn ang="0">
                <a:pos x="124" y="206"/>
              </a:cxn>
              <a:cxn ang="0">
                <a:pos x="150" y="224"/>
              </a:cxn>
              <a:cxn ang="0">
                <a:pos x="124" y="238"/>
              </a:cxn>
              <a:cxn ang="0">
                <a:pos x="124" y="252"/>
              </a:cxn>
              <a:cxn ang="0">
                <a:pos x="160" y="234"/>
              </a:cxn>
              <a:cxn ang="0">
                <a:pos x="196" y="206"/>
              </a:cxn>
              <a:cxn ang="0">
                <a:pos x="192" y="234"/>
              </a:cxn>
              <a:cxn ang="0">
                <a:pos x="150" y="274"/>
              </a:cxn>
              <a:cxn ang="0">
                <a:pos x="604" y="428"/>
              </a:cxn>
              <a:cxn ang="0">
                <a:pos x="578" y="336"/>
              </a:cxn>
              <a:cxn ang="0">
                <a:pos x="576" y="370"/>
              </a:cxn>
              <a:cxn ang="0">
                <a:pos x="586" y="414"/>
              </a:cxn>
              <a:cxn ang="0">
                <a:pos x="604" y="502"/>
              </a:cxn>
              <a:cxn ang="0">
                <a:pos x="576" y="464"/>
              </a:cxn>
              <a:cxn ang="0">
                <a:pos x="550" y="366"/>
              </a:cxn>
              <a:cxn ang="0">
                <a:pos x="562" y="470"/>
              </a:cxn>
              <a:cxn ang="0">
                <a:pos x="134" y="520"/>
              </a:cxn>
              <a:cxn ang="0">
                <a:pos x="164" y="470"/>
              </a:cxn>
              <a:cxn ang="0">
                <a:pos x="178" y="366"/>
              </a:cxn>
              <a:cxn ang="0">
                <a:pos x="150" y="464"/>
              </a:cxn>
              <a:cxn ang="0">
                <a:pos x="124" y="456"/>
              </a:cxn>
              <a:cxn ang="0">
                <a:pos x="150" y="370"/>
              </a:cxn>
              <a:cxn ang="0">
                <a:pos x="150" y="336"/>
              </a:cxn>
              <a:cxn ang="0">
                <a:pos x="124" y="428"/>
              </a:cxn>
              <a:cxn ang="0">
                <a:pos x="148" y="290"/>
              </a:cxn>
              <a:cxn ang="0">
                <a:pos x="150" y="290"/>
              </a:cxn>
              <a:cxn ang="0">
                <a:pos x="184" y="268"/>
              </a:cxn>
              <a:cxn ang="0">
                <a:pos x="210" y="220"/>
              </a:cxn>
              <a:cxn ang="0">
                <a:pos x="238" y="206"/>
              </a:cxn>
              <a:cxn ang="0">
                <a:pos x="516" y="206"/>
              </a:cxn>
              <a:cxn ang="0">
                <a:pos x="526" y="246"/>
              </a:cxn>
              <a:cxn ang="0">
                <a:pos x="562" y="282"/>
              </a:cxn>
              <a:cxn ang="0">
                <a:pos x="576" y="290"/>
              </a:cxn>
              <a:cxn ang="0">
                <a:pos x="588" y="292"/>
              </a:cxn>
              <a:cxn ang="0">
                <a:pos x="604" y="320"/>
              </a:cxn>
              <a:cxn ang="0">
                <a:pos x="592" y="236"/>
              </a:cxn>
              <a:cxn ang="0">
                <a:pos x="572" y="212"/>
              </a:cxn>
              <a:cxn ang="0">
                <a:pos x="540" y="302"/>
              </a:cxn>
              <a:cxn ang="0">
                <a:pos x="234" y="234"/>
              </a:cxn>
              <a:cxn ang="0">
                <a:pos x="186" y="302"/>
              </a:cxn>
              <a:cxn ang="0">
                <a:pos x="206" y="394"/>
              </a:cxn>
              <a:cxn ang="0">
                <a:pos x="184" y="492"/>
              </a:cxn>
              <a:cxn ang="0">
                <a:pos x="522" y="420"/>
              </a:cxn>
              <a:cxn ang="0">
                <a:pos x="532" y="32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30" y="206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70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8" y="336"/>
                </a:lnTo>
                <a:lnTo>
                  <a:pt x="576" y="344"/>
                </a:lnTo>
                <a:lnTo>
                  <a:pt x="576" y="344"/>
                </a:lnTo>
                <a:lnTo>
                  <a:pt x="576" y="344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456"/>
                </a:lnTo>
                <a:lnTo>
                  <a:pt x="604" y="502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50" y="366"/>
                </a:lnTo>
                <a:lnTo>
                  <a:pt x="548" y="394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80" y="394"/>
                </a:lnTo>
                <a:lnTo>
                  <a:pt x="178" y="366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70"/>
                </a:lnTo>
                <a:lnTo>
                  <a:pt x="150" y="356"/>
                </a:lnTo>
                <a:lnTo>
                  <a:pt x="150" y="356"/>
                </a:lnTo>
                <a:lnTo>
                  <a:pt x="150" y="344"/>
                </a:lnTo>
                <a:lnTo>
                  <a:pt x="150" y="344"/>
                </a:lnTo>
                <a:lnTo>
                  <a:pt x="150" y="336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24" y="294"/>
                </a:lnTo>
                <a:lnTo>
                  <a:pt x="140" y="292"/>
                </a:lnTo>
                <a:lnTo>
                  <a:pt x="140" y="292"/>
                </a:lnTo>
                <a:lnTo>
                  <a:pt x="148" y="290"/>
                </a:lnTo>
                <a:lnTo>
                  <a:pt x="148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66" y="282"/>
                </a:lnTo>
                <a:lnTo>
                  <a:pt x="166" y="282"/>
                </a:lnTo>
                <a:lnTo>
                  <a:pt x="174" y="278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10" y="206"/>
                </a:lnTo>
                <a:lnTo>
                  <a:pt x="210" y="206"/>
                </a:lnTo>
                <a:lnTo>
                  <a:pt x="238" y="206"/>
                </a:lnTo>
                <a:lnTo>
                  <a:pt x="238" y="206"/>
                </a:lnTo>
                <a:lnTo>
                  <a:pt x="490" y="206"/>
                </a:lnTo>
                <a:lnTo>
                  <a:pt x="490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54" y="278"/>
                </a:lnTo>
                <a:lnTo>
                  <a:pt x="562" y="282"/>
                </a:lnTo>
                <a:lnTo>
                  <a:pt x="562" y="282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8" y="290"/>
                </a:lnTo>
                <a:lnTo>
                  <a:pt x="578" y="290"/>
                </a:lnTo>
                <a:lnTo>
                  <a:pt x="580" y="290"/>
                </a:lnTo>
                <a:lnTo>
                  <a:pt x="580" y="290"/>
                </a:lnTo>
                <a:lnTo>
                  <a:pt x="588" y="292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320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" name="Freeform 261"/>
          <p:cNvSpPr>
            <a:spLocks noChangeAspect="1" noEditPoints="1"/>
          </p:cNvSpPr>
          <p:nvPr/>
        </p:nvSpPr>
        <p:spPr bwMode="auto">
          <a:xfrm>
            <a:off x="7345172" y="4406282"/>
            <a:ext cx="838818" cy="838818"/>
          </a:xfrm>
          <a:custGeom>
            <a:avLst/>
            <a:gdLst/>
            <a:ahLst/>
            <a:cxnLst>
              <a:cxn ang="0">
                <a:pos x="364" y="0"/>
              </a:cxn>
              <a:cxn ang="0">
                <a:pos x="290" y="8"/>
              </a:cxn>
              <a:cxn ang="0">
                <a:pos x="222" y="28"/>
              </a:cxn>
              <a:cxn ang="0">
                <a:pos x="160" y="62"/>
              </a:cxn>
              <a:cxn ang="0">
                <a:pos x="108" y="106"/>
              </a:cxn>
              <a:cxn ang="0">
                <a:pos x="62" y="160"/>
              </a:cxn>
              <a:cxn ang="0">
                <a:pos x="30" y="222"/>
              </a:cxn>
              <a:cxn ang="0">
                <a:pos x="8" y="290"/>
              </a:cxn>
              <a:cxn ang="0">
                <a:pos x="0" y="362"/>
              </a:cxn>
              <a:cxn ang="0">
                <a:pos x="2" y="400"/>
              </a:cxn>
              <a:cxn ang="0">
                <a:pos x="18" y="470"/>
              </a:cxn>
              <a:cxn ang="0">
                <a:pos x="44" y="536"/>
              </a:cxn>
              <a:cxn ang="0">
                <a:pos x="84" y="594"/>
              </a:cxn>
              <a:cxn ang="0">
                <a:pos x="134" y="642"/>
              </a:cxn>
              <a:cxn ang="0">
                <a:pos x="190" y="682"/>
              </a:cxn>
              <a:cxn ang="0">
                <a:pos x="256" y="710"/>
              </a:cxn>
              <a:cxn ang="0">
                <a:pos x="326" y="724"/>
              </a:cxn>
              <a:cxn ang="0">
                <a:pos x="364" y="726"/>
              </a:cxn>
              <a:cxn ang="0">
                <a:pos x="436" y="718"/>
              </a:cxn>
              <a:cxn ang="0">
                <a:pos x="506" y="698"/>
              </a:cxn>
              <a:cxn ang="0">
                <a:pos x="566" y="664"/>
              </a:cxn>
              <a:cxn ang="0">
                <a:pos x="620" y="620"/>
              </a:cxn>
              <a:cxn ang="0">
                <a:pos x="664" y="566"/>
              </a:cxn>
              <a:cxn ang="0">
                <a:pos x="698" y="504"/>
              </a:cxn>
              <a:cxn ang="0">
                <a:pos x="720" y="436"/>
              </a:cxn>
              <a:cxn ang="0">
                <a:pos x="726" y="362"/>
              </a:cxn>
              <a:cxn ang="0">
                <a:pos x="724" y="326"/>
              </a:cxn>
              <a:cxn ang="0">
                <a:pos x="710" y="254"/>
              </a:cxn>
              <a:cxn ang="0">
                <a:pos x="682" y="190"/>
              </a:cxn>
              <a:cxn ang="0">
                <a:pos x="644" y="132"/>
              </a:cxn>
              <a:cxn ang="0">
                <a:pos x="594" y="82"/>
              </a:cxn>
              <a:cxn ang="0">
                <a:pos x="536" y="44"/>
              </a:cxn>
              <a:cxn ang="0">
                <a:pos x="472" y="16"/>
              </a:cxn>
              <a:cxn ang="0">
                <a:pos x="400" y="2"/>
              </a:cxn>
              <a:cxn ang="0">
                <a:pos x="482" y="586"/>
              </a:cxn>
              <a:cxn ang="0">
                <a:pos x="480" y="590"/>
              </a:cxn>
              <a:cxn ang="0">
                <a:pos x="252" y="592"/>
              </a:cxn>
              <a:cxn ang="0">
                <a:pos x="248" y="590"/>
              </a:cxn>
              <a:cxn ang="0">
                <a:pos x="246" y="530"/>
              </a:cxn>
              <a:cxn ang="0">
                <a:pos x="248" y="526"/>
              </a:cxn>
              <a:cxn ang="0">
                <a:pos x="476" y="524"/>
              </a:cxn>
              <a:cxn ang="0">
                <a:pos x="480" y="526"/>
              </a:cxn>
              <a:cxn ang="0">
                <a:pos x="482" y="586"/>
              </a:cxn>
              <a:cxn ang="0">
                <a:pos x="504" y="486"/>
              </a:cxn>
              <a:cxn ang="0">
                <a:pos x="500" y="500"/>
              </a:cxn>
              <a:cxn ang="0">
                <a:pos x="486" y="504"/>
              </a:cxn>
              <a:cxn ang="0">
                <a:pos x="242" y="504"/>
              </a:cxn>
              <a:cxn ang="0">
                <a:pos x="228" y="500"/>
              </a:cxn>
              <a:cxn ang="0">
                <a:pos x="224" y="486"/>
              </a:cxn>
              <a:cxn ang="0">
                <a:pos x="224" y="146"/>
              </a:cxn>
              <a:cxn ang="0">
                <a:pos x="228" y="134"/>
              </a:cxn>
              <a:cxn ang="0">
                <a:pos x="242" y="128"/>
              </a:cxn>
              <a:cxn ang="0">
                <a:pos x="486" y="128"/>
              </a:cxn>
              <a:cxn ang="0">
                <a:pos x="500" y="134"/>
              </a:cxn>
              <a:cxn ang="0">
                <a:pos x="504" y="146"/>
              </a:cxn>
              <a:cxn ang="0">
                <a:pos x="260" y="468"/>
              </a:cxn>
              <a:cxn ang="0">
                <a:pos x="468" y="166"/>
              </a:cxn>
              <a:cxn ang="0">
                <a:pos x="260" y="468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reeform 106"/>
          <p:cNvSpPr>
            <a:spLocks noChangeAspect="1" noEditPoints="1"/>
          </p:cNvSpPr>
          <p:nvPr/>
        </p:nvSpPr>
        <p:spPr bwMode="auto">
          <a:xfrm>
            <a:off x="5063784" y="2814799"/>
            <a:ext cx="838820" cy="838820"/>
          </a:xfrm>
          <a:custGeom>
            <a:avLst/>
            <a:gdLst/>
            <a:ahLst/>
            <a:cxnLst>
              <a:cxn ang="0">
                <a:pos x="326" y="2"/>
              </a:cxn>
              <a:cxn ang="0">
                <a:pos x="220" y="28"/>
              </a:cxn>
              <a:cxn ang="0">
                <a:pos x="132" y="82"/>
              </a:cxn>
              <a:cxn ang="0">
                <a:pos x="62" y="160"/>
              </a:cxn>
              <a:cxn ang="0">
                <a:pos x="16" y="254"/>
              </a:cxn>
              <a:cxn ang="0">
                <a:pos x="0" y="362"/>
              </a:cxn>
              <a:cxn ang="0">
                <a:pos x="6" y="436"/>
              </a:cxn>
              <a:cxn ang="0">
                <a:pos x="44" y="536"/>
              </a:cxn>
              <a:cxn ang="0">
                <a:pos x="106" y="620"/>
              </a:cxn>
              <a:cxn ang="0">
                <a:pos x="190" y="682"/>
              </a:cxn>
              <a:cxn ang="0">
                <a:pos x="288" y="718"/>
              </a:cxn>
              <a:cxn ang="0">
                <a:pos x="362" y="726"/>
              </a:cxn>
              <a:cxn ang="0">
                <a:pos x="470" y="710"/>
              </a:cxn>
              <a:cxn ang="0">
                <a:pos x="564" y="664"/>
              </a:cxn>
              <a:cxn ang="0">
                <a:pos x="642" y="594"/>
              </a:cxn>
              <a:cxn ang="0">
                <a:pos x="696" y="504"/>
              </a:cxn>
              <a:cxn ang="0">
                <a:pos x="724" y="400"/>
              </a:cxn>
              <a:cxn ang="0">
                <a:pos x="724" y="326"/>
              </a:cxn>
              <a:cxn ang="0">
                <a:pos x="696" y="222"/>
              </a:cxn>
              <a:cxn ang="0">
                <a:pos x="642" y="132"/>
              </a:cxn>
              <a:cxn ang="0">
                <a:pos x="564" y="62"/>
              </a:cxn>
              <a:cxn ang="0">
                <a:pos x="470" y="16"/>
              </a:cxn>
              <a:cxn ang="0">
                <a:pos x="362" y="0"/>
              </a:cxn>
              <a:cxn ang="0">
                <a:pos x="152" y="312"/>
              </a:cxn>
              <a:cxn ang="0">
                <a:pos x="558" y="348"/>
              </a:cxn>
              <a:cxn ang="0">
                <a:pos x="562" y="364"/>
              </a:cxn>
              <a:cxn ang="0">
                <a:pos x="556" y="382"/>
              </a:cxn>
              <a:cxn ang="0">
                <a:pos x="542" y="396"/>
              </a:cxn>
              <a:cxn ang="0">
                <a:pos x="546" y="410"/>
              </a:cxn>
              <a:cxn ang="0">
                <a:pos x="534" y="436"/>
              </a:cxn>
              <a:cxn ang="0">
                <a:pos x="528" y="450"/>
              </a:cxn>
              <a:cxn ang="0">
                <a:pos x="530" y="464"/>
              </a:cxn>
              <a:cxn ang="0">
                <a:pos x="520" y="482"/>
              </a:cxn>
              <a:cxn ang="0">
                <a:pos x="502" y="492"/>
              </a:cxn>
              <a:cxn ang="0">
                <a:pos x="364" y="494"/>
              </a:cxn>
              <a:cxn ang="0">
                <a:pos x="336" y="482"/>
              </a:cxn>
              <a:cxn ang="0">
                <a:pos x="312" y="472"/>
              </a:cxn>
              <a:cxn ang="0">
                <a:pos x="294" y="312"/>
              </a:cxn>
              <a:cxn ang="0">
                <a:pos x="378" y="184"/>
              </a:cxn>
              <a:cxn ang="0">
                <a:pos x="380" y="170"/>
              </a:cxn>
              <a:cxn ang="0">
                <a:pos x="394" y="154"/>
              </a:cxn>
              <a:cxn ang="0">
                <a:pos x="414" y="148"/>
              </a:cxn>
              <a:cxn ang="0">
                <a:pos x="428" y="150"/>
              </a:cxn>
              <a:cxn ang="0">
                <a:pos x="444" y="164"/>
              </a:cxn>
              <a:cxn ang="0">
                <a:pos x="450" y="184"/>
              </a:cxn>
              <a:cxn ang="0">
                <a:pos x="540" y="280"/>
              </a:cxn>
              <a:cxn ang="0">
                <a:pos x="554" y="284"/>
              </a:cxn>
              <a:cxn ang="0">
                <a:pos x="570" y="296"/>
              </a:cxn>
              <a:cxn ang="0">
                <a:pos x="576" y="318"/>
              </a:cxn>
              <a:cxn ang="0">
                <a:pos x="572" y="336"/>
              </a:cxn>
              <a:cxn ang="0">
                <a:pos x="232" y="478"/>
              </a:cxn>
              <a:cxn ang="0">
                <a:pos x="240" y="474"/>
              </a:cxn>
              <a:cxn ang="0">
                <a:pos x="244" y="464"/>
              </a:cxn>
              <a:cxn ang="0">
                <a:pos x="236" y="452"/>
              </a:cxn>
              <a:cxn ang="0">
                <a:pos x="226" y="452"/>
              </a:cxn>
              <a:cxn ang="0">
                <a:pos x="218" y="464"/>
              </a:cxn>
              <a:cxn ang="0">
                <a:pos x="222" y="474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8" name="Freeform 163"/>
          <p:cNvSpPr>
            <a:spLocks noChangeAspect="1" noEditPoints="1"/>
          </p:cNvSpPr>
          <p:nvPr/>
        </p:nvSpPr>
        <p:spPr bwMode="auto">
          <a:xfrm>
            <a:off x="7536947" y="2773742"/>
            <a:ext cx="838818" cy="838818"/>
          </a:xfrm>
          <a:custGeom>
            <a:avLst/>
            <a:gdLst/>
            <a:ahLst/>
            <a:cxnLst>
              <a:cxn ang="0">
                <a:pos x="364" y="0"/>
              </a:cxn>
              <a:cxn ang="0">
                <a:pos x="290" y="8"/>
              </a:cxn>
              <a:cxn ang="0">
                <a:pos x="222" y="28"/>
              </a:cxn>
              <a:cxn ang="0">
                <a:pos x="160" y="62"/>
              </a:cxn>
              <a:cxn ang="0">
                <a:pos x="108" y="106"/>
              </a:cxn>
              <a:cxn ang="0">
                <a:pos x="62" y="160"/>
              </a:cxn>
              <a:cxn ang="0">
                <a:pos x="30" y="222"/>
              </a:cxn>
              <a:cxn ang="0">
                <a:pos x="8" y="290"/>
              </a:cxn>
              <a:cxn ang="0">
                <a:pos x="0" y="362"/>
              </a:cxn>
              <a:cxn ang="0">
                <a:pos x="2" y="400"/>
              </a:cxn>
              <a:cxn ang="0">
                <a:pos x="18" y="470"/>
              </a:cxn>
              <a:cxn ang="0">
                <a:pos x="44" y="536"/>
              </a:cxn>
              <a:cxn ang="0">
                <a:pos x="84" y="594"/>
              </a:cxn>
              <a:cxn ang="0">
                <a:pos x="132" y="642"/>
              </a:cxn>
              <a:cxn ang="0">
                <a:pos x="190" y="682"/>
              </a:cxn>
              <a:cxn ang="0">
                <a:pos x="256" y="710"/>
              </a:cxn>
              <a:cxn ang="0">
                <a:pos x="326" y="724"/>
              </a:cxn>
              <a:cxn ang="0">
                <a:pos x="364" y="726"/>
              </a:cxn>
              <a:cxn ang="0">
                <a:pos x="436" y="718"/>
              </a:cxn>
              <a:cxn ang="0">
                <a:pos x="504" y="698"/>
              </a:cxn>
              <a:cxn ang="0">
                <a:pos x="566" y="664"/>
              </a:cxn>
              <a:cxn ang="0">
                <a:pos x="620" y="620"/>
              </a:cxn>
              <a:cxn ang="0">
                <a:pos x="664" y="566"/>
              </a:cxn>
              <a:cxn ang="0">
                <a:pos x="698" y="504"/>
              </a:cxn>
              <a:cxn ang="0">
                <a:pos x="720" y="436"/>
              </a:cxn>
              <a:cxn ang="0">
                <a:pos x="726" y="362"/>
              </a:cxn>
              <a:cxn ang="0">
                <a:pos x="724" y="326"/>
              </a:cxn>
              <a:cxn ang="0">
                <a:pos x="710" y="254"/>
              </a:cxn>
              <a:cxn ang="0">
                <a:pos x="682" y="190"/>
              </a:cxn>
              <a:cxn ang="0">
                <a:pos x="644" y="132"/>
              </a:cxn>
              <a:cxn ang="0">
                <a:pos x="594" y="82"/>
              </a:cxn>
              <a:cxn ang="0">
                <a:pos x="536" y="44"/>
              </a:cxn>
              <a:cxn ang="0">
                <a:pos x="472" y="16"/>
              </a:cxn>
              <a:cxn ang="0">
                <a:pos x="400" y="2"/>
              </a:cxn>
              <a:cxn ang="0">
                <a:pos x="462" y="532"/>
              </a:cxn>
              <a:cxn ang="0">
                <a:pos x="348" y="426"/>
              </a:cxn>
              <a:cxn ang="0">
                <a:pos x="268" y="172"/>
              </a:cxn>
              <a:cxn ang="0">
                <a:pos x="404" y="402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69" name="Straight Connector 68"/>
          <p:cNvCxnSpPr/>
          <p:nvPr/>
        </p:nvCxnSpPr>
        <p:spPr>
          <a:xfrm>
            <a:off x="6725987" y="3026623"/>
            <a:ext cx="0" cy="498067"/>
          </a:xfrm>
          <a:prstGeom prst="line">
            <a:avLst/>
          </a:prstGeom>
          <a:ln w="19050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 flipH="1">
            <a:off x="7101418" y="3354682"/>
            <a:ext cx="529165" cy="380973"/>
          </a:xfrm>
          <a:prstGeom prst="line">
            <a:avLst/>
          </a:prstGeom>
          <a:ln w="19050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 flipH="1" flipV="1">
            <a:off x="5840329" y="3442254"/>
            <a:ext cx="499088" cy="325149"/>
          </a:xfrm>
          <a:prstGeom prst="line">
            <a:avLst/>
          </a:prstGeom>
          <a:ln w="19050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flipH="1">
            <a:off x="6024145" y="4277753"/>
            <a:ext cx="292434" cy="267359"/>
          </a:xfrm>
          <a:prstGeom prst="line">
            <a:avLst/>
          </a:prstGeom>
          <a:ln w="19050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flipH="1" flipV="1">
            <a:off x="7118685" y="4252688"/>
            <a:ext cx="375986" cy="317490"/>
          </a:xfrm>
          <a:prstGeom prst="line">
            <a:avLst/>
          </a:prstGeom>
          <a:ln w="19050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60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684954"/>
              </p:ext>
            </p:extLst>
          </p:nvPr>
        </p:nvGraphicFramePr>
        <p:xfrm>
          <a:off x="307331" y="1873426"/>
          <a:ext cx="4822809" cy="34668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28030"/>
                <a:gridCol w="1229655"/>
                <a:gridCol w="1265124"/>
              </a:tblGrid>
              <a:tr h="33331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 smtClean="0">
                          <a:solidFill>
                            <a:schemeClr val="accent1"/>
                          </a:solidFill>
                        </a:rPr>
                        <a:t>Asset</a:t>
                      </a:r>
                      <a:endParaRPr lang="en-US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accent1"/>
                          </a:solidFill>
                        </a:rPr>
                        <a:t>Annual OTS Estimate</a:t>
                      </a:r>
                      <a:endParaRPr lang="en-US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accent1"/>
                          </a:solidFill>
                        </a:rPr>
                        <a:t>Value</a:t>
                      </a:r>
                      <a:endParaRPr lang="en-US" sz="10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12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Up </a:t>
                      </a:r>
                      <a:r>
                        <a:rPr lang="en-US" sz="1000" smtClean="0">
                          <a:solidFill>
                            <a:schemeClr val="bg1"/>
                          </a:solidFill>
                        </a:rPr>
                        <a:t>to </a:t>
                      </a:r>
                      <a:r>
                        <a:rPr lang="en-US" sz="1000" smtClean="0">
                          <a:solidFill>
                            <a:schemeClr val="bg1"/>
                          </a:solidFill>
                        </a:rPr>
                        <a:t>4 mins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premium positioned brand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content 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before Kids Club screenings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75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20,4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12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30” on-screen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trailer with all current release family films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786,182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26,73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12">
                <a:tc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Permanent quad poster in foyers for sponsorship duration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3,105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176,8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12"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1x </a:t>
                      </a:r>
                      <a:r>
                        <a:rPr lang="en-US" sz="1000" baseline="0" smtClean="0">
                          <a:solidFill>
                            <a:schemeClr val="bg1"/>
                          </a:solidFill>
                        </a:rPr>
                        <a:t>roller banners/totems 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&amp; 2x counter cards during Kids Club screening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75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131,040</a:t>
                      </a:r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12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Magazine: full page ad x 4 issues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1,320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24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12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Website &amp;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social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150,78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7,5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12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E-newsletter x 4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1,492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£208,000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3312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Total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6,253,192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£834,030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turehouse kids club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Reach a valuable parent and child audience</a:t>
            </a:r>
            <a:endParaRPr lang="en-US" dirty="0"/>
          </a:p>
        </p:txBody>
      </p:sp>
      <p:pic>
        <p:nvPicPr>
          <p:cNvPr id="29" name="Picture 28"/>
          <p:cNvPicPr/>
          <p:nvPr/>
        </p:nvPicPr>
        <p:blipFill rotWithShape="1">
          <a:blip r:embed="rId2"/>
          <a:srcRect l="8185" t="14879" r="11458" b="10887"/>
          <a:stretch/>
        </p:blipFill>
        <p:spPr>
          <a:xfrm>
            <a:off x="5626458" y="3511600"/>
            <a:ext cx="3803969" cy="2635558"/>
          </a:xfrm>
          <a:prstGeom prst="rect">
            <a:avLst/>
          </a:prstGeom>
        </p:spPr>
      </p:pic>
      <p:sp>
        <p:nvSpPr>
          <p:cNvPr id="30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266898" y="1509577"/>
            <a:ext cx="4079261" cy="344487"/>
          </a:xfrm>
        </p:spPr>
        <p:txBody>
          <a:bodyPr/>
          <a:lstStyle/>
          <a:p>
            <a:r>
              <a:rPr lang="en-US" dirty="0" smtClean="0"/>
              <a:t>Investment</a:t>
            </a:r>
            <a:endParaRPr lang="en-US" dirty="0"/>
          </a:p>
        </p:txBody>
      </p:sp>
      <p:sp>
        <p:nvSpPr>
          <p:cNvPr id="15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5617112" y="3067324"/>
            <a:ext cx="4079261" cy="344487"/>
          </a:xfrm>
        </p:spPr>
        <p:txBody>
          <a:bodyPr/>
          <a:lstStyle/>
          <a:p>
            <a:r>
              <a:rPr lang="en-US" dirty="0" smtClean="0"/>
              <a:t>Family audiences continue to grow strongly</a:t>
            </a:r>
            <a:r>
              <a:rPr lang="en-US" baseline="30000" dirty="0"/>
              <a:t>3</a:t>
            </a:r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095751" y="5850296"/>
            <a:ext cx="1431086" cy="344487"/>
          </a:xfrm>
        </p:spPr>
        <p:txBody>
          <a:bodyPr/>
          <a:lstStyle/>
          <a:p>
            <a:r>
              <a:rPr lang="en-US" sz="1100" dirty="0" smtClean="0">
                <a:solidFill>
                  <a:schemeClr val="accent1"/>
                </a:solidFill>
              </a:rPr>
              <a:t>£100,000 gross</a:t>
            </a:r>
            <a:endParaRPr lang="en-US" sz="1100" dirty="0">
              <a:solidFill>
                <a:schemeClr val="accent1"/>
              </a:solidFill>
            </a:endParaRPr>
          </a:p>
        </p:txBody>
      </p:sp>
      <p:pic>
        <p:nvPicPr>
          <p:cNvPr id="775170" name="Picture 2" descr="http://www.ropewalksliverpool.com/images/made/uploads/images/Picturehouse_logo_1024_597_90_s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464" y="6930578"/>
            <a:ext cx="663601" cy="386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537200" y="6869927"/>
            <a:ext cx="4292600" cy="595144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 * Includes initial production and delivery, </a:t>
            </a:r>
            <a:r>
              <a:rPr lang="en-US" dirty="0">
                <a:solidFill>
                  <a:schemeClr val="bg1"/>
                </a:solidFill>
              </a:rPr>
              <a:t>then one copy </a:t>
            </a:r>
            <a:r>
              <a:rPr lang="en-US" dirty="0" smtClean="0">
                <a:solidFill>
                  <a:schemeClr val="bg1"/>
                </a:solidFill>
              </a:rPr>
              <a:t>change/refresh. All activity is subject to prior approval by Cineworld and restricted by availability.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Source: 1&amp;3:FAME 2013 (BASE 11+). Targets adults who went to the cinema with in HH. 2: DCM Movies for Juniors research Q3 2013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75575" y="5730432"/>
            <a:ext cx="314770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 smtClean="0">
                <a:solidFill>
                  <a:schemeClr val="accent1"/>
                </a:solidFill>
              </a:rPr>
              <a:t>Annual package investment </a:t>
            </a:r>
            <a:br>
              <a:rPr lang="en-US" sz="1100" b="1" dirty="0" smtClean="0">
                <a:solidFill>
                  <a:schemeClr val="accent1"/>
                </a:solidFill>
              </a:rPr>
            </a:br>
            <a:r>
              <a:rPr lang="en-US" sz="1100" b="1" dirty="0" smtClean="0">
                <a:solidFill>
                  <a:schemeClr val="accent1"/>
                </a:solidFill>
              </a:rPr>
              <a:t>(inclusive of all production hard costs*):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22" name="Freeform 277"/>
          <p:cNvSpPr>
            <a:spLocks noChangeAspect="1" noEditPoints="1"/>
          </p:cNvSpPr>
          <p:nvPr/>
        </p:nvSpPr>
        <p:spPr bwMode="auto">
          <a:xfrm>
            <a:off x="7903724" y="1941917"/>
            <a:ext cx="718648" cy="721381"/>
          </a:xfrm>
          <a:custGeom>
            <a:avLst/>
            <a:gdLst/>
            <a:ahLst/>
            <a:cxnLst>
              <a:cxn ang="0">
                <a:pos x="190" y="44"/>
              </a:cxn>
              <a:cxn ang="0">
                <a:pos x="28" y="222"/>
              </a:cxn>
              <a:cxn ang="0">
                <a:pos x="8" y="436"/>
              </a:cxn>
              <a:cxn ang="0">
                <a:pos x="132" y="642"/>
              </a:cxn>
              <a:cxn ang="0">
                <a:pos x="364" y="726"/>
              </a:cxn>
              <a:cxn ang="0">
                <a:pos x="566" y="664"/>
              </a:cxn>
              <a:cxn ang="0">
                <a:pos x="710" y="470"/>
              </a:cxn>
              <a:cxn ang="0">
                <a:pos x="710" y="254"/>
              </a:cxn>
              <a:cxn ang="0">
                <a:pos x="566" y="62"/>
              </a:cxn>
              <a:cxn ang="0">
                <a:pos x="296" y="208"/>
              </a:cxn>
              <a:cxn ang="0">
                <a:pos x="334" y="234"/>
              </a:cxn>
              <a:cxn ang="0">
                <a:pos x="326" y="282"/>
              </a:cxn>
              <a:cxn ang="0">
                <a:pos x="278" y="290"/>
              </a:cxn>
              <a:cxn ang="0">
                <a:pos x="252" y="250"/>
              </a:cxn>
              <a:cxn ang="0">
                <a:pos x="286" y="208"/>
              </a:cxn>
              <a:cxn ang="0">
                <a:pos x="196" y="312"/>
              </a:cxn>
              <a:cxn ang="0">
                <a:pos x="180" y="354"/>
              </a:cxn>
              <a:cxn ang="0">
                <a:pos x="140" y="336"/>
              </a:cxn>
              <a:cxn ang="0">
                <a:pos x="156" y="296"/>
              </a:cxn>
              <a:cxn ang="0">
                <a:pos x="194" y="460"/>
              </a:cxn>
              <a:cxn ang="0">
                <a:pos x="184" y="518"/>
              </a:cxn>
              <a:cxn ang="0">
                <a:pos x="164" y="508"/>
              </a:cxn>
              <a:cxn ang="0">
                <a:pos x="150" y="516"/>
              </a:cxn>
              <a:cxn ang="0">
                <a:pos x="124" y="460"/>
              </a:cxn>
              <a:cxn ang="0">
                <a:pos x="162" y="364"/>
              </a:cxn>
              <a:cxn ang="0">
                <a:pos x="218" y="452"/>
              </a:cxn>
              <a:cxn ang="0">
                <a:pos x="342" y="416"/>
              </a:cxn>
              <a:cxn ang="0">
                <a:pos x="318" y="516"/>
              </a:cxn>
              <a:cxn ang="0">
                <a:pos x="304" y="416"/>
              </a:cxn>
              <a:cxn ang="0">
                <a:pos x="278" y="518"/>
              </a:cxn>
              <a:cxn ang="0">
                <a:pos x="252" y="416"/>
              </a:cxn>
              <a:cxn ang="0">
                <a:pos x="242" y="320"/>
              </a:cxn>
              <a:cxn ang="0">
                <a:pos x="338" y="308"/>
              </a:cxn>
              <a:cxn ang="0">
                <a:pos x="350" y="406"/>
              </a:cxn>
              <a:cxn ang="0">
                <a:pos x="598" y="318"/>
              </a:cxn>
              <a:cxn ang="0">
                <a:pos x="574" y="354"/>
              </a:cxn>
              <a:cxn ang="0">
                <a:pos x="538" y="332"/>
              </a:cxn>
              <a:cxn ang="0">
                <a:pos x="562" y="294"/>
              </a:cxn>
              <a:cxn ang="0">
                <a:pos x="470" y="220"/>
              </a:cxn>
              <a:cxn ang="0">
                <a:pos x="480" y="268"/>
              </a:cxn>
              <a:cxn ang="0">
                <a:pos x="440" y="294"/>
              </a:cxn>
              <a:cxn ang="0">
                <a:pos x="398" y="260"/>
              </a:cxn>
              <a:cxn ang="0">
                <a:pos x="416" y="216"/>
              </a:cxn>
              <a:cxn ang="0">
                <a:pos x="494" y="438"/>
              </a:cxn>
              <a:cxn ang="0">
                <a:pos x="458" y="518"/>
              </a:cxn>
              <a:cxn ang="0">
                <a:pos x="434" y="438"/>
              </a:cxn>
              <a:cxn ang="0">
                <a:pos x="422" y="518"/>
              </a:cxn>
              <a:cxn ang="0">
                <a:pos x="386" y="438"/>
              </a:cxn>
              <a:cxn ang="0">
                <a:pos x="430" y="312"/>
              </a:cxn>
              <a:cxn ang="0">
                <a:pos x="504" y="422"/>
              </a:cxn>
              <a:cxn ang="0">
                <a:pos x="606" y="442"/>
              </a:cxn>
              <a:cxn ang="0">
                <a:pos x="590" y="514"/>
              </a:cxn>
              <a:cxn ang="0">
                <a:pos x="574" y="508"/>
              </a:cxn>
              <a:cxn ang="0">
                <a:pos x="558" y="516"/>
              </a:cxn>
              <a:cxn ang="0">
                <a:pos x="544" y="446"/>
              </a:cxn>
              <a:cxn ang="0">
                <a:pos x="528" y="436"/>
              </a:cxn>
              <a:cxn ang="0">
                <a:pos x="538" y="364"/>
              </a:cxn>
              <a:cxn ang="0">
                <a:pos x="610" y="37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Text Placeholder 1"/>
          <p:cNvSpPr>
            <a:spLocks noGrp="1"/>
          </p:cNvSpPr>
          <p:nvPr>
            <p:ph type="body" sz="quarter" idx="20"/>
          </p:nvPr>
        </p:nvSpPr>
        <p:spPr>
          <a:xfrm>
            <a:off x="8622372" y="1805117"/>
            <a:ext cx="1319077" cy="11562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b="1" dirty="0" smtClean="0">
                <a:solidFill>
                  <a:schemeClr val="accent1"/>
                </a:solidFill>
              </a:rPr>
              <a:t>3</a:t>
            </a:r>
            <a:r>
              <a:rPr lang="en-US" sz="1600" b="1" dirty="0" smtClean="0">
                <a:solidFill>
                  <a:schemeClr val="tx2"/>
                </a:solidFill>
              </a:rPr>
              <a:t> </a:t>
            </a:r>
            <a:r>
              <a:rPr lang="en-US" sz="1000" dirty="0" smtClean="0"/>
              <a:t>children per every adult at</a:t>
            </a:r>
            <a:r>
              <a:rPr lang="en-US" sz="1000" dirty="0"/>
              <a:t> </a:t>
            </a:r>
            <a:r>
              <a:rPr lang="en-US" sz="1000" dirty="0" smtClean="0"/>
              <a:t>Kids Club screenings; perfect for utilising ‘pester power</a:t>
            </a:r>
            <a:r>
              <a:rPr lang="en-US" dirty="0" smtClean="0"/>
              <a:t>’</a:t>
            </a:r>
            <a:r>
              <a:rPr lang="en-US" baseline="30000" dirty="0" smtClean="0"/>
              <a:t>2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475832" y="1828231"/>
            <a:ext cx="1416659" cy="132963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b="1" dirty="0" smtClean="0">
                <a:solidFill>
                  <a:schemeClr val="accent1"/>
                </a:solidFill>
              </a:rPr>
              <a:t>66% </a:t>
            </a:r>
            <a:r>
              <a:rPr lang="en-US" sz="1000" dirty="0" smtClean="0"/>
              <a:t>of families say “There is no better place to watch films than at the cinema”</a:t>
            </a:r>
            <a:r>
              <a:rPr lang="en-US" baseline="30000" dirty="0" smtClean="0"/>
              <a:t>1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25" name="Freeform 214"/>
          <p:cNvSpPr>
            <a:spLocks noChangeAspect="1" noEditPoints="1"/>
          </p:cNvSpPr>
          <p:nvPr/>
        </p:nvSpPr>
        <p:spPr bwMode="auto">
          <a:xfrm>
            <a:off x="5757184" y="1941918"/>
            <a:ext cx="718648" cy="721381"/>
          </a:xfrm>
          <a:custGeom>
            <a:avLst/>
            <a:gdLst/>
            <a:ahLst/>
            <a:cxnLst>
              <a:cxn ang="0">
                <a:pos x="356" y="266"/>
              </a:cxn>
              <a:cxn ang="0">
                <a:pos x="368" y="284"/>
              </a:cxn>
              <a:cxn ang="0">
                <a:pos x="450" y="266"/>
              </a:cxn>
              <a:cxn ang="0">
                <a:pos x="432" y="274"/>
              </a:cxn>
              <a:cxn ang="0">
                <a:pos x="452" y="274"/>
              </a:cxn>
              <a:cxn ang="0">
                <a:pos x="286" y="250"/>
              </a:cxn>
              <a:cxn ang="0">
                <a:pos x="282" y="284"/>
              </a:cxn>
              <a:cxn ang="0">
                <a:pos x="216" y="268"/>
              </a:cxn>
              <a:cxn ang="0">
                <a:pos x="198" y="266"/>
              </a:cxn>
              <a:cxn ang="0">
                <a:pos x="214" y="280"/>
              </a:cxn>
              <a:cxn ang="0">
                <a:pos x="526" y="258"/>
              </a:cxn>
              <a:cxn ang="0">
                <a:pos x="510" y="274"/>
              </a:cxn>
              <a:cxn ang="0">
                <a:pos x="532" y="272"/>
              </a:cxn>
              <a:cxn ang="0">
                <a:pos x="132" y="82"/>
              </a:cxn>
              <a:cxn ang="0">
                <a:pos x="2" y="400"/>
              </a:cxn>
              <a:cxn ang="0">
                <a:pos x="222" y="698"/>
              </a:cxn>
              <a:cxn ang="0">
                <a:pos x="566" y="664"/>
              </a:cxn>
              <a:cxn ang="0">
                <a:pos x="726" y="362"/>
              </a:cxn>
              <a:cxn ang="0">
                <a:pos x="566" y="62"/>
              </a:cxn>
              <a:cxn ang="0">
                <a:pos x="564" y="488"/>
              </a:cxn>
              <a:cxn ang="0">
                <a:pos x="404" y="518"/>
              </a:cxn>
              <a:cxn ang="0">
                <a:pos x="166" y="494"/>
              </a:cxn>
              <a:cxn ang="0">
                <a:pos x="202" y="462"/>
              </a:cxn>
              <a:cxn ang="0">
                <a:pos x="288" y="438"/>
              </a:cxn>
              <a:cxn ang="0">
                <a:pos x="366" y="462"/>
              </a:cxn>
              <a:cxn ang="0">
                <a:pos x="452" y="438"/>
              </a:cxn>
              <a:cxn ang="0">
                <a:pos x="528" y="462"/>
              </a:cxn>
              <a:cxn ang="0">
                <a:pos x="528" y="440"/>
              </a:cxn>
              <a:cxn ang="0">
                <a:pos x="432" y="416"/>
              </a:cxn>
              <a:cxn ang="0">
                <a:pos x="340" y="436"/>
              </a:cxn>
              <a:cxn ang="0">
                <a:pos x="254" y="426"/>
              </a:cxn>
              <a:cxn ang="0">
                <a:pos x="158" y="406"/>
              </a:cxn>
              <a:cxn ang="0">
                <a:pos x="234" y="410"/>
              </a:cxn>
              <a:cxn ang="0">
                <a:pos x="324" y="406"/>
              </a:cxn>
              <a:cxn ang="0">
                <a:pos x="424" y="396"/>
              </a:cxn>
              <a:cxn ang="0">
                <a:pos x="514" y="416"/>
              </a:cxn>
              <a:cxn ang="0">
                <a:pos x="568" y="386"/>
              </a:cxn>
              <a:cxn ang="0">
                <a:pos x="498" y="386"/>
              </a:cxn>
              <a:cxn ang="0">
                <a:pos x="414" y="376"/>
              </a:cxn>
              <a:cxn ang="0">
                <a:pos x="334" y="386"/>
              </a:cxn>
              <a:cxn ang="0">
                <a:pos x="250" y="376"/>
              </a:cxn>
              <a:cxn ang="0">
                <a:pos x="180" y="392"/>
              </a:cxn>
              <a:cxn ang="0">
                <a:pos x="166" y="334"/>
              </a:cxn>
              <a:cxn ang="0">
                <a:pos x="178" y="256"/>
              </a:cxn>
              <a:cxn ang="0">
                <a:pos x="216" y="222"/>
              </a:cxn>
              <a:cxn ang="0">
                <a:pos x="218" y="334"/>
              </a:cxn>
              <a:cxn ang="0">
                <a:pos x="258" y="256"/>
              </a:cxn>
              <a:cxn ang="0">
                <a:pos x="302" y="234"/>
              </a:cxn>
              <a:cxn ang="0">
                <a:pos x="352" y="334"/>
              </a:cxn>
              <a:cxn ang="0">
                <a:pos x="344" y="240"/>
              </a:cxn>
              <a:cxn ang="0">
                <a:pos x="392" y="256"/>
              </a:cxn>
              <a:cxn ang="0">
                <a:pos x="432" y="304"/>
              </a:cxn>
              <a:cxn ang="0">
                <a:pos x="422" y="240"/>
              </a:cxn>
              <a:cxn ang="0">
                <a:pos x="470" y="256"/>
              </a:cxn>
              <a:cxn ang="0">
                <a:pos x="510" y="304"/>
              </a:cxn>
              <a:cxn ang="0">
                <a:pos x="512" y="222"/>
              </a:cxn>
              <a:cxn ang="0">
                <a:pos x="552" y="266"/>
              </a:cxn>
              <a:cxn ang="0">
                <a:pos x="564" y="336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72" y="266"/>
                </a:lnTo>
                <a:lnTo>
                  <a:pt x="368" y="258"/>
                </a:lnTo>
                <a:lnTo>
                  <a:pt x="368" y="258"/>
                </a:lnTo>
                <a:lnTo>
                  <a:pt x="364" y="250"/>
                </a:lnTo>
                <a:lnTo>
                  <a:pt x="364" y="250"/>
                </a:lnTo>
                <a:lnTo>
                  <a:pt x="364" y="250"/>
                </a:lnTo>
                <a:lnTo>
                  <a:pt x="364" y="250"/>
                </a:lnTo>
                <a:lnTo>
                  <a:pt x="356" y="266"/>
                </a:lnTo>
                <a:lnTo>
                  <a:pt x="356" y="266"/>
                </a:lnTo>
                <a:lnTo>
                  <a:pt x="354" y="272"/>
                </a:lnTo>
                <a:lnTo>
                  <a:pt x="354" y="272"/>
                </a:lnTo>
                <a:lnTo>
                  <a:pt x="354" y="274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4"/>
                </a:lnTo>
                <a:lnTo>
                  <a:pt x="374" y="272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50" y="266"/>
                </a:lnTo>
                <a:lnTo>
                  <a:pt x="448" y="258"/>
                </a:lnTo>
                <a:lnTo>
                  <a:pt x="448" y="258"/>
                </a:lnTo>
                <a:lnTo>
                  <a:pt x="442" y="250"/>
                </a:lnTo>
                <a:lnTo>
                  <a:pt x="442" y="250"/>
                </a:lnTo>
                <a:lnTo>
                  <a:pt x="442" y="250"/>
                </a:lnTo>
                <a:lnTo>
                  <a:pt x="442" y="250"/>
                </a:lnTo>
                <a:lnTo>
                  <a:pt x="434" y="266"/>
                </a:lnTo>
                <a:lnTo>
                  <a:pt x="434" y="266"/>
                </a:lnTo>
                <a:lnTo>
                  <a:pt x="432" y="272"/>
                </a:lnTo>
                <a:lnTo>
                  <a:pt x="432" y="272"/>
                </a:lnTo>
                <a:lnTo>
                  <a:pt x="432" y="274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4"/>
                </a:lnTo>
                <a:lnTo>
                  <a:pt x="452" y="272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4" y="266"/>
                </a:lnTo>
                <a:lnTo>
                  <a:pt x="290" y="258"/>
                </a:lnTo>
                <a:lnTo>
                  <a:pt x="290" y="258"/>
                </a:lnTo>
                <a:lnTo>
                  <a:pt x="286" y="250"/>
                </a:lnTo>
                <a:lnTo>
                  <a:pt x="286" y="250"/>
                </a:lnTo>
                <a:lnTo>
                  <a:pt x="286" y="250"/>
                </a:lnTo>
                <a:lnTo>
                  <a:pt x="286" y="250"/>
                </a:lnTo>
                <a:lnTo>
                  <a:pt x="278" y="266"/>
                </a:lnTo>
                <a:lnTo>
                  <a:pt x="278" y="266"/>
                </a:lnTo>
                <a:lnTo>
                  <a:pt x="276" y="272"/>
                </a:lnTo>
                <a:lnTo>
                  <a:pt x="276" y="272"/>
                </a:lnTo>
                <a:lnTo>
                  <a:pt x="276" y="274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4"/>
                </a:lnTo>
                <a:lnTo>
                  <a:pt x="296" y="272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6" y="266"/>
                </a:lnTo>
                <a:lnTo>
                  <a:pt x="212" y="258"/>
                </a:lnTo>
                <a:lnTo>
                  <a:pt x="212" y="258"/>
                </a:lnTo>
                <a:lnTo>
                  <a:pt x="208" y="250"/>
                </a:lnTo>
                <a:lnTo>
                  <a:pt x="208" y="250"/>
                </a:lnTo>
                <a:lnTo>
                  <a:pt x="208" y="250"/>
                </a:lnTo>
                <a:lnTo>
                  <a:pt x="208" y="250"/>
                </a:lnTo>
                <a:lnTo>
                  <a:pt x="198" y="266"/>
                </a:lnTo>
                <a:lnTo>
                  <a:pt x="198" y="266"/>
                </a:lnTo>
                <a:lnTo>
                  <a:pt x="196" y="272"/>
                </a:lnTo>
                <a:lnTo>
                  <a:pt x="196" y="272"/>
                </a:lnTo>
                <a:lnTo>
                  <a:pt x="196" y="274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4"/>
                </a:lnTo>
                <a:lnTo>
                  <a:pt x="218" y="272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8" y="266"/>
                </a:lnTo>
                <a:lnTo>
                  <a:pt x="526" y="258"/>
                </a:lnTo>
                <a:lnTo>
                  <a:pt x="526" y="258"/>
                </a:lnTo>
                <a:lnTo>
                  <a:pt x="520" y="250"/>
                </a:lnTo>
                <a:lnTo>
                  <a:pt x="520" y="250"/>
                </a:lnTo>
                <a:lnTo>
                  <a:pt x="520" y="250"/>
                </a:lnTo>
                <a:lnTo>
                  <a:pt x="520" y="250"/>
                </a:lnTo>
                <a:lnTo>
                  <a:pt x="512" y="266"/>
                </a:lnTo>
                <a:lnTo>
                  <a:pt x="512" y="266"/>
                </a:lnTo>
                <a:lnTo>
                  <a:pt x="510" y="272"/>
                </a:lnTo>
                <a:lnTo>
                  <a:pt x="510" y="272"/>
                </a:lnTo>
                <a:lnTo>
                  <a:pt x="510" y="274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4"/>
                </a:lnTo>
                <a:lnTo>
                  <a:pt x="532" y="272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4" y="488"/>
                </a:lnTo>
                <a:lnTo>
                  <a:pt x="560" y="494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58" y="454"/>
                </a:lnTo>
                <a:lnTo>
                  <a:pt x="180" y="460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68" y="442"/>
                </a:lnTo>
                <a:lnTo>
                  <a:pt x="278" y="438"/>
                </a:lnTo>
                <a:lnTo>
                  <a:pt x="278" y="438"/>
                </a:lnTo>
                <a:lnTo>
                  <a:pt x="282" y="436"/>
                </a:lnTo>
                <a:lnTo>
                  <a:pt x="282" y="436"/>
                </a:lnTo>
                <a:lnTo>
                  <a:pt x="288" y="438"/>
                </a:lnTo>
                <a:lnTo>
                  <a:pt x="288" y="438"/>
                </a:lnTo>
                <a:lnTo>
                  <a:pt x="296" y="442"/>
                </a:lnTo>
                <a:lnTo>
                  <a:pt x="296" y="442"/>
                </a:lnTo>
                <a:lnTo>
                  <a:pt x="312" y="450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32" y="442"/>
                </a:lnTo>
                <a:lnTo>
                  <a:pt x="440" y="438"/>
                </a:lnTo>
                <a:lnTo>
                  <a:pt x="440" y="438"/>
                </a:lnTo>
                <a:lnTo>
                  <a:pt x="446" y="436"/>
                </a:lnTo>
                <a:lnTo>
                  <a:pt x="446" y="436"/>
                </a:lnTo>
                <a:lnTo>
                  <a:pt x="452" y="438"/>
                </a:lnTo>
                <a:lnTo>
                  <a:pt x="452" y="438"/>
                </a:lnTo>
                <a:lnTo>
                  <a:pt x="460" y="442"/>
                </a:lnTo>
                <a:lnTo>
                  <a:pt x="460" y="442"/>
                </a:lnTo>
                <a:lnTo>
                  <a:pt x="476" y="450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28" y="462"/>
                </a:lnTo>
                <a:lnTo>
                  <a:pt x="528" y="462"/>
                </a:lnTo>
                <a:lnTo>
                  <a:pt x="546" y="460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46" y="438"/>
                </a:lnTo>
                <a:lnTo>
                  <a:pt x="528" y="440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86" y="430"/>
                </a:lnTo>
                <a:lnTo>
                  <a:pt x="460" y="416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32" y="416"/>
                </a:lnTo>
                <a:lnTo>
                  <a:pt x="418" y="42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322" y="430"/>
                </a:lnTo>
                <a:lnTo>
                  <a:pt x="298" y="416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68" y="416"/>
                </a:lnTo>
                <a:lnTo>
                  <a:pt x="254" y="42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200" y="440"/>
                </a:lnTo>
                <a:lnTo>
                  <a:pt x="180" y="438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58" y="406"/>
                </a:lnTo>
                <a:lnTo>
                  <a:pt x="168" y="410"/>
                </a:lnTo>
                <a:lnTo>
                  <a:pt x="168" y="410"/>
                </a:lnTo>
                <a:lnTo>
                  <a:pt x="180" y="414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06" y="396"/>
                </a:lnTo>
                <a:lnTo>
                  <a:pt x="324" y="40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70" y="396"/>
                </a:lnTo>
                <a:lnTo>
                  <a:pt x="486" y="40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28" y="416"/>
                </a:lnTo>
                <a:lnTo>
                  <a:pt x="546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54" y="388"/>
                </a:lnTo>
                <a:lnTo>
                  <a:pt x="546" y="392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8" y="386"/>
                </a:lnTo>
                <a:lnTo>
                  <a:pt x="494" y="384"/>
                </a:lnTo>
                <a:lnTo>
                  <a:pt x="494" y="384"/>
                </a:lnTo>
                <a:lnTo>
                  <a:pt x="478" y="376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46" y="370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414" y="376"/>
                </a:lnTo>
                <a:lnTo>
                  <a:pt x="398" y="384"/>
                </a:lnTo>
                <a:lnTo>
                  <a:pt x="398" y="384"/>
                </a:lnTo>
                <a:lnTo>
                  <a:pt x="388" y="390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4" y="386"/>
                </a:lnTo>
                <a:lnTo>
                  <a:pt x="330" y="384"/>
                </a:lnTo>
                <a:lnTo>
                  <a:pt x="330" y="384"/>
                </a:lnTo>
                <a:lnTo>
                  <a:pt x="314" y="376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82" y="370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50" y="376"/>
                </a:lnTo>
                <a:lnTo>
                  <a:pt x="234" y="384"/>
                </a:lnTo>
                <a:lnTo>
                  <a:pt x="234" y="384"/>
                </a:lnTo>
                <a:lnTo>
                  <a:pt x="224" y="390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80" y="392"/>
                </a:lnTo>
                <a:lnTo>
                  <a:pt x="178" y="390"/>
                </a:lnTo>
                <a:lnTo>
                  <a:pt x="178" y="390"/>
                </a:lnTo>
                <a:lnTo>
                  <a:pt x="168" y="384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78" y="256"/>
                </a:lnTo>
                <a:lnTo>
                  <a:pt x="186" y="240"/>
                </a:lnTo>
                <a:lnTo>
                  <a:pt x="186" y="240"/>
                </a:lnTo>
                <a:lnTo>
                  <a:pt x="198" y="222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58" y="256"/>
                </a:lnTo>
                <a:lnTo>
                  <a:pt x="264" y="240"/>
                </a:lnTo>
                <a:lnTo>
                  <a:pt x="264" y="240"/>
                </a:lnTo>
                <a:lnTo>
                  <a:pt x="276" y="222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36" y="256"/>
                </a:lnTo>
                <a:lnTo>
                  <a:pt x="344" y="240"/>
                </a:lnTo>
                <a:lnTo>
                  <a:pt x="344" y="240"/>
                </a:lnTo>
                <a:lnTo>
                  <a:pt x="354" y="222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14" y="256"/>
                </a:lnTo>
                <a:lnTo>
                  <a:pt x="422" y="240"/>
                </a:lnTo>
                <a:lnTo>
                  <a:pt x="422" y="240"/>
                </a:lnTo>
                <a:lnTo>
                  <a:pt x="432" y="222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492" y="256"/>
                </a:lnTo>
                <a:lnTo>
                  <a:pt x="500" y="240"/>
                </a:lnTo>
                <a:lnTo>
                  <a:pt x="500" y="240"/>
                </a:lnTo>
                <a:lnTo>
                  <a:pt x="512" y="222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26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_Template_130806_2-1</Template>
  <TotalTime>0</TotalTime>
  <Words>313</Words>
  <Application>Microsoft Office PowerPoint</Application>
  <PresentationFormat>Custom</PresentationFormat>
  <Paragraphs>59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Divider Slides</vt:lpstr>
      <vt:lpstr>think-cell Slide</vt:lpstr>
      <vt:lpstr>Picturehouse kids club</vt:lpstr>
      <vt:lpstr>Picturehouse kids club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31T10:14:06Z</dcterms:created>
  <dcterms:modified xsi:type="dcterms:W3CDTF">2014-05-19T10:33:1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